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93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4</c:f>
              <c:numCache>
                <c:formatCode>m/d/yyyy</c:formatCode>
                <c:ptCount val="27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</c:numCache>
            </c:numRef>
          </c:cat>
          <c:val>
            <c:numRef>
              <c:f>Sheet1!$D$2:$D$274</c:f>
              <c:numCache>
                <c:formatCode>#,##0</c:formatCode>
                <c:ptCount val="273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0</c:v>
                </c:pt>
                <c:pt idx="98">
                  <c:v>286</c:v>
                </c:pt>
                <c:pt idx="99">
                  <c:v>278</c:v>
                </c:pt>
                <c:pt idx="100">
                  <c:v>297</c:v>
                </c:pt>
                <c:pt idx="101">
                  <c:v>307</c:v>
                </c:pt>
                <c:pt idx="102">
                  <c:v>303</c:v>
                </c:pt>
                <c:pt idx="103">
                  <c:v>301</c:v>
                </c:pt>
                <c:pt idx="104">
                  <c:v>311</c:v>
                </c:pt>
                <c:pt idx="105">
                  <c:v>307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0</c:v>
                </c:pt>
                <c:pt idx="152">
                  <c:v>527</c:v>
                </c:pt>
                <c:pt idx="153">
                  <c:v>545</c:v>
                </c:pt>
                <c:pt idx="154">
                  <c:v>529</c:v>
                </c:pt>
                <c:pt idx="155">
                  <c:v>528</c:v>
                </c:pt>
                <c:pt idx="156">
                  <c:v>545</c:v>
                </c:pt>
                <c:pt idx="157">
                  <c:v>539</c:v>
                </c:pt>
                <c:pt idx="158">
                  <c:v>527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7</c:v>
                </c:pt>
                <c:pt idx="185">
                  <c:v>842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8</c:v>
                </c:pt>
                <c:pt idx="190">
                  <c:v>914</c:v>
                </c:pt>
                <c:pt idx="191">
                  <c:v>915</c:v>
                </c:pt>
                <c:pt idx="192">
                  <c:v>925</c:v>
                </c:pt>
                <c:pt idx="193">
                  <c:v>909</c:v>
                </c:pt>
                <c:pt idx="194">
                  <c:v>935</c:v>
                </c:pt>
                <c:pt idx="195">
                  <c:v>940</c:v>
                </c:pt>
                <c:pt idx="196">
                  <c:v>926</c:v>
                </c:pt>
                <c:pt idx="197">
                  <c:v>924</c:v>
                </c:pt>
                <c:pt idx="198">
                  <c:v>951</c:v>
                </c:pt>
                <c:pt idx="199">
                  <c:v>942</c:v>
                </c:pt>
                <c:pt idx="200">
                  <c:v>936</c:v>
                </c:pt>
                <c:pt idx="201">
                  <c:v>931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5">
                  <c:v>909</c:v>
                </c:pt>
                <c:pt idx="206">
                  <c:v>909</c:v>
                </c:pt>
                <c:pt idx="207">
                  <c:v>875</c:v>
                </c:pt>
                <c:pt idx="208">
                  <c:v>860</c:v>
                </c:pt>
                <c:pt idx="209">
                  <c:v>863</c:v>
                </c:pt>
                <c:pt idx="210">
                  <c:v>837</c:v>
                </c:pt>
                <c:pt idx="211">
                  <c:v>810</c:v>
                </c:pt>
                <c:pt idx="212">
                  <c:v>786</c:v>
                </c:pt>
                <c:pt idx="213">
                  <c:v>759</c:v>
                </c:pt>
                <c:pt idx="214">
                  <c:v>722</c:v>
                </c:pt>
                <c:pt idx="215">
                  <c:v>712</c:v>
                </c:pt>
                <c:pt idx="216">
                  <c:v>707</c:v>
                </c:pt>
                <c:pt idx="217">
                  <c:v>728</c:v>
                </c:pt>
                <c:pt idx="218">
                  <c:v>702</c:v>
                </c:pt>
                <c:pt idx="219">
                  <c:v>669</c:v>
                </c:pt>
                <c:pt idx="220">
                  <c:v>625</c:v>
                </c:pt>
                <c:pt idx="221">
                  <c:v>602</c:v>
                </c:pt>
                <c:pt idx="222">
                  <c:v>602</c:v>
                </c:pt>
                <c:pt idx="223">
                  <c:v>594</c:v>
                </c:pt>
                <c:pt idx="224">
                  <c:v>571</c:v>
                </c:pt>
                <c:pt idx="225">
                  <c:v>538</c:v>
                </c:pt>
                <c:pt idx="226">
                  <c:v>521</c:v>
                </c:pt>
                <c:pt idx="227">
                  <c:v>515</c:v>
                </c:pt>
                <c:pt idx="228">
                  <c:v>487</c:v>
                </c:pt>
                <c:pt idx="229">
                  <c:v>492</c:v>
                </c:pt>
                <c:pt idx="230">
                  <c:v>489</c:v>
                </c:pt>
                <c:pt idx="231">
                  <c:v>472</c:v>
                </c:pt>
                <c:pt idx="232">
                  <c:v>460</c:v>
                </c:pt>
                <c:pt idx="233">
                  <c:v>414</c:v>
                </c:pt>
                <c:pt idx="234">
                  <c:v>399</c:v>
                </c:pt>
                <c:pt idx="235">
                  <c:v>375</c:v>
                </c:pt>
                <c:pt idx="236">
                  <c:v>369</c:v>
                </c:pt>
                <c:pt idx="237">
                  <c:v>359</c:v>
                </c:pt>
                <c:pt idx="238">
                  <c:v>357</c:v>
                </c:pt>
                <c:pt idx="239">
                  <c:v>331</c:v>
                </c:pt>
                <c:pt idx="240">
                  <c:v>300</c:v>
                </c:pt>
                <c:pt idx="241">
                  <c:v>276</c:v>
                </c:pt>
                <c:pt idx="242">
                  <c:v>260</c:v>
                </c:pt>
                <c:pt idx="243">
                  <c:v>266</c:v>
                </c:pt>
                <c:pt idx="244">
                  <c:v>263</c:v>
                </c:pt>
                <c:pt idx="245">
                  <c:v>249</c:v>
                </c:pt>
                <c:pt idx="246">
                  <c:v>231</c:v>
                </c:pt>
                <c:pt idx="247">
                  <c:v>218</c:v>
                </c:pt>
                <c:pt idx="248">
                  <c:v>201</c:v>
                </c:pt>
                <c:pt idx="249">
                  <c:v>185</c:v>
                </c:pt>
                <c:pt idx="250">
                  <c:v>183</c:v>
                </c:pt>
                <c:pt idx="251">
                  <c:v>186</c:v>
                </c:pt>
                <c:pt idx="252">
                  <c:v>164</c:v>
                </c:pt>
                <c:pt idx="253">
                  <c:v>154</c:v>
                </c:pt>
                <c:pt idx="254">
                  <c:v>153</c:v>
                </c:pt>
                <c:pt idx="255">
                  <c:v>139</c:v>
                </c:pt>
                <c:pt idx="256">
                  <c:v>123</c:v>
                </c:pt>
                <c:pt idx="257">
                  <c:v>123</c:v>
                </c:pt>
                <c:pt idx="258">
                  <c:v>114</c:v>
                </c:pt>
                <c:pt idx="259">
                  <c:v>109</c:v>
                </c:pt>
                <c:pt idx="260">
                  <c:v>101</c:v>
                </c:pt>
                <c:pt idx="261">
                  <c:v>92</c:v>
                </c:pt>
                <c:pt idx="262">
                  <c:v>76</c:v>
                </c:pt>
                <c:pt idx="263">
                  <c:v>71</c:v>
                </c:pt>
                <c:pt idx="264">
                  <c:v>68</c:v>
                </c:pt>
                <c:pt idx="265">
                  <c:v>66</c:v>
                </c:pt>
                <c:pt idx="266">
                  <c:v>62</c:v>
                </c:pt>
                <c:pt idx="267">
                  <c:v>62</c:v>
                </c:pt>
                <c:pt idx="268">
                  <c:v>56</c:v>
                </c:pt>
                <c:pt idx="269">
                  <c:v>52</c:v>
                </c:pt>
                <c:pt idx="270">
                  <c:v>41</c:v>
                </c:pt>
                <c:pt idx="271">
                  <c:v>42</c:v>
                </c:pt>
                <c:pt idx="272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7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197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cs-CZ"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4</c:f>
              <c:numCache>
                <c:formatCode>m/d/yyyy</c:formatCode>
                <c:ptCount val="27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</c:numCache>
            </c:numRef>
          </c:cat>
          <c:val>
            <c:numRef>
              <c:f>Sheet1!$B$2:$B$274</c:f>
              <c:numCache>
                <c:formatCode>#,##0</c:formatCode>
                <c:ptCount val="273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5">
                  <c:v>38</c:v>
                </c:pt>
                <c:pt idx="206">
                  <c:v>325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  <c:pt idx="258">
                  <c:v>681</c:v>
                </c:pt>
                <c:pt idx="259">
                  <c:v>669</c:v>
                </c:pt>
                <c:pt idx="260">
                  <c:v>659</c:v>
                </c:pt>
                <c:pt idx="261">
                  <c:v>677</c:v>
                </c:pt>
                <c:pt idx="262">
                  <c:v>693</c:v>
                </c:pt>
                <c:pt idx="263">
                  <c:v>695</c:v>
                </c:pt>
                <c:pt idx="264">
                  <c:v>696</c:v>
                </c:pt>
                <c:pt idx="265">
                  <c:v>687</c:v>
                </c:pt>
                <c:pt idx="266">
                  <c:v>700</c:v>
                </c:pt>
                <c:pt idx="267">
                  <c:v>665</c:v>
                </c:pt>
                <c:pt idx="268">
                  <c:v>678</c:v>
                </c:pt>
                <c:pt idx="269">
                  <c:v>668</c:v>
                </c:pt>
                <c:pt idx="270">
                  <c:v>659</c:v>
                </c:pt>
                <c:pt idx="271">
                  <c:v>665</c:v>
                </c:pt>
                <c:pt idx="272">
                  <c:v>6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4</c:f>
              <c:numCache>
                <c:formatCode>m/d/yyyy</c:formatCode>
                <c:ptCount val="27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</c:numCache>
            </c:numRef>
          </c:cat>
          <c:val>
            <c:numRef>
              <c:f>Sheet1!$C$2:$C$274</c:f>
              <c:numCache>
                <c:formatCode>#,##0</c:formatCode>
                <c:ptCount val="27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4</c:f>
              <c:numCache>
                <c:formatCode>m/d/yyyy</c:formatCode>
                <c:ptCount val="27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</c:numCache>
            </c:numRef>
          </c:cat>
          <c:val>
            <c:numRef>
              <c:f>Sheet1!$D$2:$D$274</c:f>
              <c:numCache>
                <c:formatCode>#,##0</c:formatCode>
                <c:ptCount val="273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8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49</c:v>
                </c:pt>
                <c:pt idx="68">
                  <c:v>3353</c:v>
                </c:pt>
                <c:pt idx="69">
                  <c:v>3290</c:v>
                </c:pt>
                <c:pt idx="70">
                  <c:v>3195</c:v>
                </c:pt>
                <c:pt idx="71">
                  <c:v>2966</c:v>
                </c:pt>
                <c:pt idx="72">
                  <c:v>2889</c:v>
                </c:pt>
                <c:pt idx="73">
                  <c:v>2749</c:v>
                </c:pt>
                <c:pt idx="74">
                  <c:v>2629</c:v>
                </c:pt>
                <c:pt idx="75">
                  <c:v>2554</c:v>
                </c:pt>
                <c:pt idx="76">
                  <c:v>2560</c:v>
                </c:pt>
                <c:pt idx="77">
                  <c:v>2484</c:v>
                </c:pt>
                <c:pt idx="78">
                  <c:v>2441</c:v>
                </c:pt>
                <c:pt idx="79">
                  <c:v>2362</c:v>
                </c:pt>
                <c:pt idx="80">
                  <c:v>2266</c:v>
                </c:pt>
                <c:pt idx="81">
                  <c:v>2144</c:v>
                </c:pt>
                <c:pt idx="82">
                  <c:v>2129</c:v>
                </c:pt>
                <c:pt idx="83">
                  <c:v>2157</c:v>
                </c:pt>
                <c:pt idx="84">
                  <c:v>2095</c:v>
                </c:pt>
                <c:pt idx="85">
                  <c:v>2021</c:v>
                </c:pt>
                <c:pt idx="86">
                  <c:v>1931</c:v>
                </c:pt>
                <c:pt idx="87">
                  <c:v>1808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3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6</c:v>
                </c:pt>
                <c:pt idx="133">
                  <c:v>3044</c:v>
                </c:pt>
                <c:pt idx="134">
                  <c:v>2965</c:v>
                </c:pt>
                <c:pt idx="135">
                  <c:v>2925</c:v>
                </c:pt>
                <c:pt idx="136">
                  <c:v>2873</c:v>
                </c:pt>
                <c:pt idx="137">
                  <c:v>2758</c:v>
                </c:pt>
                <c:pt idx="138">
                  <c:v>2745</c:v>
                </c:pt>
                <c:pt idx="139">
                  <c:v>2703</c:v>
                </c:pt>
                <c:pt idx="140">
                  <c:v>2639</c:v>
                </c:pt>
                <c:pt idx="141">
                  <c:v>2594</c:v>
                </c:pt>
                <c:pt idx="142">
                  <c:v>2589</c:v>
                </c:pt>
                <c:pt idx="143">
                  <c:v>2554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0</c:v>
                </c:pt>
                <c:pt idx="161">
                  <c:v>2488</c:v>
                </c:pt>
                <c:pt idx="162">
                  <c:v>2419</c:v>
                </c:pt>
                <c:pt idx="163">
                  <c:v>2452</c:v>
                </c:pt>
                <c:pt idx="164">
                  <c:v>2404</c:v>
                </c:pt>
                <c:pt idx="165">
                  <c:v>2471</c:v>
                </c:pt>
                <c:pt idx="166">
                  <c:v>2589</c:v>
                </c:pt>
                <c:pt idx="167">
                  <c:v>2622</c:v>
                </c:pt>
                <c:pt idx="168">
                  <c:v>2652</c:v>
                </c:pt>
                <c:pt idx="169">
                  <c:v>2716</c:v>
                </c:pt>
                <c:pt idx="170">
                  <c:v>2756</c:v>
                </c:pt>
                <c:pt idx="171">
                  <c:v>2676</c:v>
                </c:pt>
                <c:pt idx="172">
                  <c:v>2687</c:v>
                </c:pt>
                <c:pt idx="173">
                  <c:v>2807</c:v>
                </c:pt>
                <c:pt idx="174">
                  <c:v>2999</c:v>
                </c:pt>
                <c:pt idx="175">
                  <c:v>3016</c:v>
                </c:pt>
                <c:pt idx="176">
                  <c:v>3027</c:v>
                </c:pt>
                <c:pt idx="177">
                  <c:v>3038</c:v>
                </c:pt>
                <c:pt idx="178">
                  <c:v>3124</c:v>
                </c:pt>
                <c:pt idx="179">
                  <c:v>3230</c:v>
                </c:pt>
                <c:pt idx="180">
                  <c:v>3368</c:v>
                </c:pt>
                <c:pt idx="181">
                  <c:v>3573</c:v>
                </c:pt>
                <c:pt idx="182">
                  <c:v>3617</c:v>
                </c:pt>
                <c:pt idx="183">
                  <c:v>3593</c:v>
                </c:pt>
                <c:pt idx="184">
                  <c:v>3676</c:v>
                </c:pt>
                <c:pt idx="185">
                  <c:v>3705</c:v>
                </c:pt>
                <c:pt idx="186">
                  <c:v>3783</c:v>
                </c:pt>
                <c:pt idx="187">
                  <c:v>3872</c:v>
                </c:pt>
                <c:pt idx="188">
                  <c:v>3923</c:v>
                </c:pt>
                <c:pt idx="189">
                  <c:v>3940</c:v>
                </c:pt>
                <c:pt idx="190">
                  <c:v>3955</c:v>
                </c:pt>
                <c:pt idx="191">
                  <c:v>3922</c:v>
                </c:pt>
                <c:pt idx="192">
                  <c:v>3858</c:v>
                </c:pt>
                <c:pt idx="193">
                  <c:v>3971</c:v>
                </c:pt>
                <c:pt idx="194">
                  <c:v>4039</c:v>
                </c:pt>
                <c:pt idx="195">
                  <c:v>4184</c:v>
                </c:pt>
                <c:pt idx="196">
                  <c:v>4102</c:v>
                </c:pt>
                <c:pt idx="197">
                  <c:v>4021</c:v>
                </c:pt>
                <c:pt idx="198">
                  <c:v>3994</c:v>
                </c:pt>
                <c:pt idx="199">
                  <c:v>3790</c:v>
                </c:pt>
                <c:pt idx="200">
                  <c:v>3716</c:v>
                </c:pt>
                <c:pt idx="201">
                  <c:v>3793</c:v>
                </c:pt>
                <c:pt idx="202">
                  <c:v>3809</c:v>
                </c:pt>
                <c:pt idx="203">
                  <c:v>3677</c:v>
                </c:pt>
                <c:pt idx="204">
                  <c:v>3534</c:v>
                </c:pt>
                <c:pt idx="205">
                  <c:v>3465</c:v>
                </c:pt>
                <c:pt idx="206">
                  <c:v>3325</c:v>
                </c:pt>
                <c:pt idx="207">
                  <c:v>3352</c:v>
                </c:pt>
                <c:pt idx="208">
                  <c:v>3380</c:v>
                </c:pt>
                <c:pt idx="209">
                  <c:v>3354</c:v>
                </c:pt>
                <c:pt idx="210">
                  <c:v>3278</c:v>
                </c:pt>
                <c:pt idx="211">
                  <c:v>3143</c:v>
                </c:pt>
                <c:pt idx="212">
                  <c:v>2994</c:v>
                </c:pt>
                <c:pt idx="213">
                  <c:v>2810</c:v>
                </c:pt>
                <c:pt idx="214">
                  <c:v>2767</c:v>
                </c:pt>
                <c:pt idx="215">
                  <c:v>2828</c:v>
                </c:pt>
                <c:pt idx="216">
                  <c:v>2841</c:v>
                </c:pt>
                <c:pt idx="217">
                  <c:v>3039</c:v>
                </c:pt>
                <c:pt idx="218">
                  <c:v>2864</c:v>
                </c:pt>
                <c:pt idx="219">
                  <c:v>2686</c:v>
                </c:pt>
                <c:pt idx="220">
                  <c:v>2416</c:v>
                </c:pt>
                <c:pt idx="221">
                  <c:v>2320</c:v>
                </c:pt>
                <c:pt idx="222">
                  <c:v>2335</c:v>
                </c:pt>
                <c:pt idx="223">
                  <c:v>2330</c:v>
                </c:pt>
                <c:pt idx="224">
                  <c:v>2234</c:v>
                </c:pt>
                <c:pt idx="225">
                  <c:v>2103</c:v>
                </c:pt>
                <c:pt idx="226">
                  <c:v>1926</c:v>
                </c:pt>
                <c:pt idx="227">
                  <c:v>1779</c:v>
                </c:pt>
                <c:pt idx="228">
                  <c:v>1746</c:v>
                </c:pt>
                <c:pt idx="229">
                  <c:v>1753</c:v>
                </c:pt>
                <c:pt idx="230">
                  <c:v>1808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0</c:v>
                </c:pt>
                <c:pt idx="235">
                  <c:v>1352</c:v>
                </c:pt>
                <c:pt idx="236">
                  <c:v>1348</c:v>
                </c:pt>
                <c:pt idx="237">
                  <c:v>1294</c:v>
                </c:pt>
                <c:pt idx="238">
                  <c:v>1271</c:v>
                </c:pt>
                <c:pt idx="239">
                  <c:v>1230</c:v>
                </c:pt>
                <c:pt idx="240">
                  <c:v>1172</c:v>
                </c:pt>
                <c:pt idx="241">
                  <c:v>1125</c:v>
                </c:pt>
                <c:pt idx="242">
                  <c:v>1129</c:v>
                </c:pt>
                <c:pt idx="243">
                  <c:v>1121</c:v>
                </c:pt>
                <c:pt idx="244">
                  <c:v>1116</c:v>
                </c:pt>
                <c:pt idx="245">
                  <c:v>1051</c:v>
                </c:pt>
                <c:pt idx="246">
                  <c:v>989</c:v>
                </c:pt>
                <c:pt idx="247">
                  <c:v>918</c:v>
                </c:pt>
                <c:pt idx="248">
                  <c:v>854</c:v>
                </c:pt>
                <c:pt idx="249">
                  <c:v>811</c:v>
                </c:pt>
                <c:pt idx="250">
                  <c:v>813</c:v>
                </c:pt>
                <c:pt idx="251">
                  <c:v>773</c:v>
                </c:pt>
                <c:pt idx="252">
                  <c:v>724</c:v>
                </c:pt>
                <c:pt idx="253">
                  <c:v>653</c:v>
                </c:pt>
                <c:pt idx="254">
                  <c:v>632</c:v>
                </c:pt>
                <c:pt idx="255">
                  <c:v>611</c:v>
                </c:pt>
                <c:pt idx="256">
                  <c:v>549</c:v>
                </c:pt>
                <c:pt idx="257">
                  <c:v>546</c:v>
                </c:pt>
                <c:pt idx="258">
                  <c:v>519</c:v>
                </c:pt>
                <c:pt idx="259">
                  <c:v>467</c:v>
                </c:pt>
                <c:pt idx="260">
                  <c:v>430</c:v>
                </c:pt>
                <c:pt idx="261">
                  <c:v>402</c:v>
                </c:pt>
                <c:pt idx="262">
                  <c:v>391</c:v>
                </c:pt>
                <c:pt idx="263">
                  <c:v>373</c:v>
                </c:pt>
                <c:pt idx="264">
                  <c:v>361</c:v>
                </c:pt>
                <c:pt idx="265">
                  <c:v>319</c:v>
                </c:pt>
                <c:pt idx="266">
                  <c:v>309</c:v>
                </c:pt>
                <c:pt idx="267">
                  <c:v>293</c:v>
                </c:pt>
                <c:pt idx="268">
                  <c:v>264</c:v>
                </c:pt>
                <c:pt idx="269">
                  <c:v>238</c:v>
                </c:pt>
                <c:pt idx="270">
                  <c:v>201</c:v>
                </c:pt>
                <c:pt idx="271">
                  <c:v>196</c:v>
                </c:pt>
                <c:pt idx="272">
                  <c:v>1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7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4</c:f>
              <c:numCache>
                <c:formatCode>m/d/yyyy</c:formatCode>
                <c:ptCount val="27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</c:numCache>
            </c:numRef>
          </c:cat>
          <c:val>
            <c:numRef>
              <c:f>Sheet1!$B$2:$B$274</c:f>
              <c:numCache>
                <c:formatCode>#,##0</c:formatCode>
                <c:ptCount val="273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5">
                  <c:v>454</c:v>
                </c:pt>
                <c:pt idx="206">
                  <c:v>4946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  <c:pt idx="258">
                  <c:v>6402</c:v>
                </c:pt>
                <c:pt idx="259">
                  <c:v>6329</c:v>
                </c:pt>
                <c:pt idx="260">
                  <c:v>6226</c:v>
                </c:pt>
                <c:pt idx="261">
                  <c:v>6073</c:v>
                </c:pt>
                <c:pt idx="262">
                  <c:v>6422</c:v>
                </c:pt>
                <c:pt idx="263">
                  <c:v>6556</c:v>
                </c:pt>
                <c:pt idx="264">
                  <c:v>6563</c:v>
                </c:pt>
                <c:pt idx="265">
                  <c:v>6437</c:v>
                </c:pt>
                <c:pt idx="266">
                  <c:v>6373</c:v>
                </c:pt>
                <c:pt idx="267">
                  <c:v>6326</c:v>
                </c:pt>
                <c:pt idx="268">
                  <c:v>6311</c:v>
                </c:pt>
                <c:pt idx="269">
                  <c:v>6527</c:v>
                </c:pt>
                <c:pt idx="270">
                  <c:v>6590</c:v>
                </c:pt>
                <c:pt idx="271">
                  <c:v>6586</c:v>
                </c:pt>
                <c:pt idx="272">
                  <c:v>65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4</c:f>
              <c:numCache>
                <c:formatCode>m/d/yyyy</c:formatCode>
                <c:ptCount val="27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</c:numCache>
            </c:numRef>
          </c:cat>
          <c:val>
            <c:numRef>
              <c:f>Sheet1!$C$2:$C$274</c:f>
              <c:numCache>
                <c:formatCode>#,##0</c:formatCode>
                <c:ptCount val="27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4</c:f>
              <c:numCache>
                <c:formatCode>m/d/yyyy</c:formatCode>
                <c:ptCount val="27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</c:numCache>
            </c:numRef>
          </c:cat>
          <c:val>
            <c:numRef>
              <c:f>Sheet1!$D$2:$D$274</c:f>
              <c:numCache>
                <c:formatCode>#,##0</c:formatCode>
                <c:ptCount val="27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2</c:v>
                </c:pt>
                <c:pt idx="193">
                  <c:v>33</c:v>
                </c:pt>
                <c:pt idx="194">
                  <c:v>31</c:v>
                </c:pt>
                <c:pt idx="195">
                  <c:v>30</c:v>
                </c:pt>
                <c:pt idx="196">
                  <c:v>36</c:v>
                </c:pt>
                <c:pt idx="197">
                  <c:v>35</c:v>
                </c:pt>
                <c:pt idx="198">
                  <c:v>33</c:v>
                </c:pt>
                <c:pt idx="199">
                  <c:v>34</c:v>
                </c:pt>
                <c:pt idx="200">
                  <c:v>28</c:v>
                </c:pt>
                <c:pt idx="201">
                  <c:v>29</c:v>
                </c:pt>
                <c:pt idx="202">
                  <c:v>27</c:v>
                </c:pt>
                <c:pt idx="203">
                  <c:v>25</c:v>
                </c:pt>
                <c:pt idx="204">
                  <c:v>21</c:v>
                </c:pt>
                <c:pt idx="205">
                  <c:v>25</c:v>
                </c:pt>
                <c:pt idx="206">
                  <c:v>28</c:v>
                </c:pt>
                <c:pt idx="207">
                  <c:v>28</c:v>
                </c:pt>
                <c:pt idx="208">
                  <c:v>26</c:v>
                </c:pt>
                <c:pt idx="209">
                  <c:v>28</c:v>
                </c:pt>
                <c:pt idx="210">
                  <c:v>28</c:v>
                </c:pt>
                <c:pt idx="211">
                  <c:v>25</c:v>
                </c:pt>
                <c:pt idx="212">
                  <c:v>24</c:v>
                </c:pt>
                <c:pt idx="213">
                  <c:v>28</c:v>
                </c:pt>
                <c:pt idx="214">
                  <c:v>28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4</c:v>
                </c:pt>
                <c:pt idx="249">
                  <c:v>12</c:v>
                </c:pt>
                <c:pt idx="250">
                  <c:v>11</c:v>
                </c:pt>
                <c:pt idx="251">
                  <c:v>11</c:v>
                </c:pt>
                <c:pt idx="252">
                  <c:v>10</c:v>
                </c:pt>
                <c:pt idx="253">
                  <c:v>9</c:v>
                </c:pt>
                <c:pt idx="254">
                  <c:v>8</c:v>
                </c:pt>
                <c:pt idx="255">
                  <c:v>8</c:v>
                </c:pt>
                <c:pt idx="256">
                  <c:v>8</c:v>
                </c:pt>
                <c:pt idx="257">
                  <c:v>7</c:v>
                </c:pt>
                <c:pt idx="258">
                  <c:v>6</c:v>
                </c:pt>
                <c:pt idx="259">
                  <c:v>6</c:v>
                </c:pt>
                <c:pt idx="260">
                  <c:v>6</c:v>
                </c:pt>
                <c:pt idx="261">
                  <c:v>5</c:v>
                </c:pt>
                <c:pt idx="262">
                  <c:v>4</c:v>
                </c:pt>
                <c:pt idx="263">
                  <c:v>3</c:v>
                </c:pt>
                <c:pt idx="264">
                  <c:v>3</c:v>
                </c:pt>
                <c:pt idx="265">
                  <c:v>4</c:v>
                </c:pt>
                <c:pt idx="266">
                  <c:v>4</c:v>
                </c:pt>
                <c:pt idx="267">
                  <c:v>3</c:v>
                </c:pt>
                <c:pt idx="268">
                  <c:v>3</c:v>
                </c:pt>
                <c:pt idx="269">
                  <c:v>3</c:v>
                </c:pt>
                <c:pt idx="270">
                  <c:v>4</c:v>
                </c:pt>
                <c:pt idx="271">
                  <c:v>4</c:v>
                </c:pt>
                <c:pt idx="27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7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4</c:f>
              <c:numCache>
                <c:formatCode>m/d/yyyy</c:formatCode>
                <c:ptCount val="27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</c:numCache>
            </c:numRef>
          </c:cat>
          <c:val>
            <c:numRef>
              <c:f>Sheet1!$B$2:$B$274</c:f>
              <c:numCache>
                <c:formatCode>#,##0</c:formatCode>
                <c:ptCount val="273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5">
                  <c:v>3</c:v>
                </c:pt>
                <c:pt idx="206">
                  <c:v>22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  <c:pt idx="258">
                  <c:v>53</c:v>
                </c:pt>
                <c:pt idx="259">
                  <c:v>54</c:v>
                </c:pt>
                <c:pt idx="260">
                  <c:v>56</c:v>
                </c:pt>
                <c:pt idx="261">
                  <c:v>57</c:v>
                </c:pt>
                <c:pt idx="262">
                  <c:v>59</c:v>
                </c:pt>
                <c:pt idx="263">
                  <c:v>58</c:v>
                </c:pt>
                <c:pt idx="264">
                  <c:v>58</c:v>
                </c:pt>
                <c:pt idx="265">
                  <c:v>63</c:v>
                </c:pt>
                <c:pt idx="266">
                  <c:v>63</c:v>
                </c:pt>
                <c:pt idx="267">
                  <c:v>63</c:v>
                </c:pt>
                <c:pt idx="268">
                  <c:v>63</c:v>
                </c:pt>
                <c:pt idx="269">
                  <c:v>61</c:v>
                </c:pt>
                <c:pt idx="270">
                  <c:v>61</c:v>
                </c:pt>
                <c:pt idx="271">
                  <c:v>61</c:v>
                </c:pt>
                <c:pt idx="272">
                  <c:v>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4</c:f>
              <c:numCache>
                <c:formatCode>m/d/yyyy</c:formatCode>
                <c:ptCount val="27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</c:numCache>
            </c:numRef>
          </c:cat>
          <c:val>
            <c:numRef>
              <c:f>Sheet1!$C$2:$C$274</c:f>
              <c:numCache>
                <c:formatCode>#,##0</c:formatCode>
                <c:ptCount val="27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74</c:f>
              <c:numCache>
                <c:formatCode>m/d/yyyy</c:formatCode>
                <c:ptCount val="27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</c:numCache>
            </c:numRef>
          </c:cat>
          <c:val>
            <c:numRef>
              <c:f>Sheet1!$D$2:$D$274</c:f>
              <c:numCache>
                <c:formatCode>#,##0</c:formatCode>
                <c:ptCount val="273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50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0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09</c:v>
                </c:pt>
                <c:pt idx="98">
                  <c:v>697</c:v>
                </c:pt>
                <c:pt idx="99">
                  <c:v>683</c:v>
                </c:pt>
                <c:pt idx="100">
                  <c:v>708</c:v>
                </c:pt>
                <c:pt idx="101">
                  <c:v>696</c:v>
                </c:pt>
                <c:pt idx="102">
                  <c:v>692</c:v>
                </c:pt>
                <c:pt idx="103">
                  <c:v>706</c:v>
                </c:pt>
                <c:pt idx="104">
                  <c:v>724</c:v>
                </c:pt>
                <c:pt idx="105">
                  <c:v>721</c:v>
                </c:pt>
                <c:pt idx="106">
                  <c:v>734</c:v>
                </c:pt>
                <c:pt idx="107">
                  <c:v>722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8</c:v>
                </c:pt>
                <c:pt idx="133">
                  <c:v>1174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0</c:v>
                </c:pt>
                <c:pt idx="152">
                  <c:v>1038</c:v>
                </c:pt>
                <c:pt idx="153">
                  <c:v>1077</c:v>
                </c:pt>
                <c:pt idx="154">
                  <c:v>1088</c:v>
                </c:pt>
                <c:pt idx="155">
                  <c:v>1074</c:v>
                </c:pt>
                <c:pt idx="156">
                  <c:v>1100</c:v>
                </c:pt>
                <c:pt idx="157">
                  <c:v>1086</c:v>
                </c:pt>
                <c:pt idx="158">
                  <c:v>1070</c:v>
                </c:pt>
                <c:pt idx="159">
                  <c:v>1098</c:v>
                </c:pt>
                <c:pt idx="160">
                  <c:v>1107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09</c:v>
                </c:pt>
                <c:pt idx="165">
                  <c:v>1103</c:v>
                </c:pt>
                <c:pt idx="166">
                  <c:v>1144</c:v>
                </c:pt>
                <c:pt idx="167">
                  <c:v>1168</c:v>
                </c:pt>
                <c:pt idx="168">
                  <c:v>1211</c:v>
                </c:pt>
                <c:pt idx="169">
                  <c:v>1239</c:v>
                </c:pt>
                <c:pt idx="170">
                  <c:v>1265</c:v>
                </c:pt>
                <c:pt idx="171">
                  <c:v>1268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50</c:v>
                </c:pt>
                <c:pt idx="185">
                  <c:v>1670</c:v>
                </c:pt>
                <c:pt idx="186">
                  <c:v>1671</c:v>
                </c:pt>
                <c:pt idx="187">
                  <c:v>1675</c:v>
                </c:pt>
                <c:pt idx="188">
                  <c:v>1769</c:v>
                </c:pt>
                <c:pt idx="189">
                  <c:v>1797</c:v>
                </c:pt>
                <c:pt idx="190">
                  <c:v>1826</c:v>
                </c:pt>
                <c:pt idx="191">
                  <c:v>1816</c:v>
                </c:pt>
                <c:pt idx="192">
                  <c:v>1827</c:v>
                </c:pt>
                <c:pt idx="193">
                  <c:v>1777</c:v>
                </c:pt>
                <c:pt idx="194">
                  <c:v>1824</c:v>
                </c:pt>
                <c:pt idx="195">
                  <c:v>1882</c:v>
                </c:pt>
                <c:pt idx="196">
                  <c:v>1891</c:v>
                </c:pt>
                <c:pt idx="197">
                  <c:v>1858</c:v>
                </c:pt>
                <c:pt idx="198">
                  <c:v>1858</c:v>
                </c:pt>
                <c:pt idx="199">
                  <c:v>1816</c:v>
                </c:pt>
                <c:pt idx="200">
                  <c:v>1777</c:v>
                </c:pt>
                <c:pt idx="201">
                  <c:v>1801</c:v>
                </c:pt>
                <c:pt idx="202">
                  <c:v>1821</c:v>
                </c:pt>
                <c:pt idx="203">
                  <c:v>1772</c:v>
                </c:pt>
                <c:pt idx="204">
                  <c:v>1740</c:v>
                </c:pt>
                <c:pt idx="205">
                  <c:v>1739</c:v>
                </c:pt>
                <c:pt idx="206">
                  <c:v>1674</c:v>
                </c:pt>
                <c:pt idx="207">
                  <c:v>1639</c:v>
                </c:pt>
                <c:pt idx="208">
                  <c:v>1649</c:v>
                </c:pt>
                <c:pt idx="209">
                  <c:v>1659</c:v>
                </c:pt>
                <c:pt idx="210">
                  <c:v>1610</c:v>
                </c:pt>
                <c:pt idx="211">
                  <c:v>1550</c:v>
                </c:pt>
                <c:pt idx="212">
                  <c:v>1501</c:v>
                </c:pt>
                <c:pt idx="213">
                  <c:v>1420</c:v>
                </c:pt>
                <c:pt idx="214">
                  <c:v>1397</c:v>
                </c:pt>
                <c:pt idx="215">
                  <c:v>1378</c:v>
                </c:pt>
                <c:pt idx="216">
                  <c:v>1344</c:v>
                </c:pt>
                <c:pt idx="217">
                  <c:v>1392</c:v>
                </c:pt>
                <c:pt idx="218">
                  <c:v>1358</c:v>
                </c:pt>
                <c:pt idx="219">
                  <c:v>1312</c:v>
                </c:pt>
                <c:pt idx="220">
                  <c:v>1232</c:v>
                </c:pt>
                <c:pt idx="221">
                  <c:v>1213</c:v>
                </c:pt>
                <c:pt idx="222">
                  <c:v>1195</c:v>
                </c:pt>
                <c:pt idx="223">
                  <c:v>1182</c:v>
                </c:pt>
                <c:pt idx="224">
                  <c:v>1154</c:v>
                </c:pt>
                <c:pt idx="225">
                  <c:v>1110</c:v>
                </c:pt>
                <c:pt idx="226">
                  <c:v>1033</c:v>
                </c:pt>
                <c:pt idx="227">
                  <c:v>1010</c:v>
                </c:pt>
                <c:pt idx="228">
                  <c:v>971</c:v>
                </c:pt>
                <c:pt idx="229">
                  <c:v>973</c:v>
                </c:pt>
                <c:pt idx="230">
                  <c:v>992</c:v>
                </c:pt>
                <c:pt idx="231">
                  <c:v>941</c:v>
                </c:pt>
                <c:pt idx="232">
                  <c:v>906</c:v>
                </c:pt>
                <c:pt idx="233">
                  <c:v>830</c:v>
                </c:pt>
                <c:pt idx="234">
                  <c:v>784</c:v>
                </c:pt>
                <c:pt idx="235">
                  <c:v>749</c:v>
                </c:pt>
                <c:pt idx="236">
                  <c:v>757</c:v>
                </c:pt>
                <c:pt idx="237">
                  <c:v>735</c:v>
                </c:pt>
                <c:pt idx="238">
                  <c:v>709</c:v>
                </c:pt>
                <c:pt idx="239">
                  <c:v>683</c:v>
                </c:pt>
                <c:pt idx="240">
                  <c:v>634</c:v>
                </c:pt>
                <c:pt idx="241">
                  <c:v>575</c:v>
                </c:pt>
                <c:pt idx="242">
                  <c:v>551</c:v>
                </c:pt>
                <c:pt idx="243">
                  <c:v>557</c:v>
                </c:pt>
                <c:pt idx="244">
                  <c:v>563</c:v>
                </c:pt>
                <c:pt idx="245">
                  <c:v>542</c:v>
                </c:pt>
                <c:pt idx="246">
                  <c:v>499</c:v>
                </c:pt>
                <c:pt idx="247">
                  <c:v>464</c:v>
                </c:pt>
                <c:pt idx="248">
                  <c:v>441</c:v>
                </c:pt>
                <c:pt idx="249">
                  <c:v>413</c:v>
                </c:pt>
                <c:pt idx="250">
                  <c:v>419</c:v>
                </c:pt>
                <c:pt idx="251">
                  <c:v>425</c:v>
                </c:pt>
                <c:pt idx="252">
                  <c:v>402</c:v>
                </c:pt>
                <c:pt idx="253">
                  <c:v>377</c:v>
                </c:pt>
                <c:pt idx="254">
                  <c:v>367</c:v>
                </c:pt>
                <c:pt idx="255">
                  <c:v>340</c:v>
                </c:pt>
                <c:pt idx="256">
                  <c:v>307</c:v>
                </c:pt>
                <c:pt idx="257">
                  <c:v>302</c:v>
                </c:pt>
                <c:pt idx="258">
                  <c:v>294</c:v>
                </c:pt>
                <c:pt idx="259">
                  <c:v>278</c:v>
                </c:pt>
                <c:pt idx="260">
                  <c:v>249</c:v>
                </c:pt>
                <c:pt idx="261">
                  <c:v>218</c:v>
                </c:pt>
                <c:pt idx="262">
                  <c:v>191</c:v>
                </c:pt>
                <c:pt idx="263">
                  <c:v>189</c:v>
                </c:pt>
                <c:pt idx="264">
                  <c:v>187</c:v>
                </c:pt>
                <c:pt idx="265">
                  <c:v>182</c:v>
                </c:pt>
                <c:pt idx="266">
                  <c:v>162</c:v>
                </c:pt>
                <c:pt idx="267">
                  <c:v>155</c:v>
                </c:pt>
                <c:pt idx="268">
                  <c:v>144</c:v>
                </c:pt>
                <c:pt idx="269">
                  <c:v>126</c:v>
                </c:pt>
                <c:pt idx="270">
                  <c:v>108</c:v>
                </c:pt>
                <c:pt idx="271">
                  <c:v>113</c:v>
                </c:pt>
                <c:pt idx="272">
                  <c:v>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27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74</c:f>
              <c:numCache>
                <c:formatCode>m/d/yyyy</c:formatCode>
                <c:ptCount val="27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</c:numCache>
            </c:numRef>
          </c:cat>
          <c:val>
            <c:numRef>
              <c:f>Sheet1!$B$2:$B$274</c:f>
              <c:numCache>
                <c:formatCode>#,##0</c:formatCode>
                <c:ptCount val="273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5">
                  <c:v>84</c:v>
                </c:pt>
                <c:pt idx="206">
                  <c:v>958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  <c:pt idx="258">
                  <c:v>1628</c:v>
                </c:pt>
                <c:pt idx="259">
                  <c:v>1609</c:v>
                </c:pt>
                <c:pt idx="260">
                  <c:v>1592</c:v>
                </c:pt>
                <c:pt idx="261">
                  <c:v>1612</c:v>
                </c:pt>
                <c:pt idx="262">
                  <c:v>1646</c:v>
                </c:pt>
                <c:pt idx="263">
                  <c:v>1648</c:v>
                </c:pt>
                <c:pt idx="264">
                  <c:v>1652</c:v>
                </c:pt>
                <c:pt idx="265">
                  <c:v>1655</c:v>
                </c:pt>
                <c:pt idx="266">
                  <c:v>1664</c:v>
                </c:pt>
                <c:pt idx="267">
                  <c:v>1667</c:v>
                </c:pt>
                <c:pt idx="268">
                  <c:v>1682</c:v>
                </c:pt>
                <c:pt idx="269">
                  <c:v>1629</c:v>
                </c:pt>
                <c:pt idx="270">
                  <c:v>1614</c:v>
                </c:pt>
                <c:pt idx="271">
                  <c:v>1622</c:v>
                </c:pt>
                <c:pt idx="272">
                  <c:v>16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74</c:f>
              <c:numCache>
                <c:formatCode>m/d/yyyy</c:formatCode>
                <c:ptCount val="27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</c:numCache>
            </c:numRef>
          </c:cat>
          <c:val>
            <c:numRef>
              <c:f>Sheet1!$C$2:$C$274</c:f>
              <c:numCache>
                <c:formatCode>#,##0</c:formatCode>
                <c:ptCount val="27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1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1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1.06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365150814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35642816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57717089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92956112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3071452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3703531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58</TotalTime>
  <Words>1037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echová Anna Mgr.</cp:lastModifiedBy>
  <cp:revision>689</cp:revision>
  <dcterms:created xsi:type="dcterms:W3CDTF">2020-08-08T14:25:07Z</dcterms:created>
  <dcterms:modified xsi:type="dcterms:W3CDTF">2021-06-01T03:19:18Z</dcterms:modified>
</cp:coreProperties>
</file>